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4"/>
    <p:sldMasterId id="2147483704" r:id="rId5"/>
  </p:sldMasterIdLst>
  <p:notesMasterIdLst>
    <p:notesMasterId r:id="rId12"/>
  </p:notesMasterIdLst>
  <p:handoutMasterIdLst>
    <p:handoutMasterId r:id="rId13"/>
  </p:handoutMasterIdLst>
  <p:sldIdLst>
    <p:sldId id="764" r:id="rId6"/>
    <p:sldId id="760" r:id="rId7"/>
    <p:sldId id="761" r:id="rId8"/>
    <p:sldId id="765" r:id="rId9"/>
    <p:sldId id="767" r:id="rId10"/>
    <p:sldId id="766" r:id="rId11"/>
  </p:sldIdLst>
  <p:sldSz cx="9144000" cy="5143500" type="screen16x9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leria, Deepak" initials="GD" lastIdx="3" clrIdx="0">
    <p:extLst>
      <p:ext uri="{19B8F6BF-5375-455C-9EA6-DF929625EA0E}">
        <p15:presenceInfo xmlns:p15="http://schemas.microsoft.com/office/powerpoint/2012/main" userId="S-1-5-21-954130684-3649123220-2484908513-436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2B20"/>
    <a:srgbClr val="006600"/>
    <a:srgbClr val="FFFFFF"/>
    <a:srgbClr val="BF311A"/>
    <a:srgbClr val="A21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397" autoAdjust="0"/>
    <p:restoredTop sz="96412" autoAdjust="0"/>
  </p:normalViewPr>
  <p:slideViewPr>
    <p:cSldViewPr snapToGrid="0">
      <p:cViewPr varScale="1">
        <p:scale>
          <a:sx n="90" d="100"/>
          <a:sy n="90" d="100"/>
        </p:scale>
        <p:origin x="952" y="52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5" d="100"/>
          <a:sy n="65" d="100"/>
        </p:scale>
        <p:origin x="-2904" y="-10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r">
              <a:defRPr sz="1200"/>
            </a:lvl1pPr>
          </a:lstStyle>
          <a:p>
            <a:fld id="{762D91F2-3EAF-4DC9-82DB-C5B942D6C6E2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r">
              <a:defRPr sz="1200"/>
            </a:lvl1pPr>
          </a:lstStyle>
          <a:p>
            <a:fld id="{FF2E8FE3-F0F1-4A12-89EC-D1930EC3F0C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6856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r">
              <a:defRPr sz="1200"/>
            </a:lvl1pPr>
          </a:lstStyle>
          <a:p>
            <a:fld id="{C0086D83-08A0-4D50-88D4-5CDED7F2541D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8500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9" tIns="46154" rIns="92309" bIns="4615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2309" tIns="46154" rIns="92309" bIns="4615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r">
              <a:defRPr sz="1200"/>
            </a:lvl1pPr>
          </a:lstStyle>
          <a:p>
            <a:fld id="{3446483F-6AA2-4EDD-80AF-84E0E9E6A8D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687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9E2563-5BDA-844B-B692-DD5EDA5D4F5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6738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35749" cy="107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5749" cy="1079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23229" y="4820417"/>
            <a:ext cx="2455978" cy="14686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 defTabSz="746584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/>
              <a:t>Copyright © Capgemini 2014. All Rights Reserv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824871" y="4990498"/>
            <a:ext cx="115416" cy="9233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fld id="{880BADDE-CEDF-4108-ADCD-25C7E5D681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6223229" y="4967551"/>
            <a:ext cx="2455978" cy="13762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fr-FR" dirty="0"/>
              <a:t>20141218_NA_CMA-Plan_J&amp;J_after session_V02_NBK.pptx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2046" y="1126483"/>
            <a:ext cx="8639908" cy="3477404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 marL="135731" indent="-135731">
              <a:defRPr>
                <a:latin typeface="Arial" pitchFamily="34" charset="0"/>
              </a:defRPr>
            </a:lvl2pPr>
            <a:lvl3pPr marL="271463" indent="-133350">
              <a:tabLst/>
              <a:defRPr>
                <a:latin typeface="Arial" pitchFamily="34" charset="0"/>
              </a:defRPr>
            </a:lvl3pPr>
            <a:lvl4pPr marL="407194" indent="-135731">
              <a:defRPr>
                <a:latin typeface="Arial" pitchFamily="34" charset="0"/>
              </a:defRPr>
            </a:lvl4pPr>
            <a:lvl5pPr marL="535781" indent="-128588" defTabSz="603647">
              <a:defRPr>
                <a:latin typeface="Arial" pitchFamily="34" charset="0"/>
              </a:defRPr>
            </a:lvl5pPr>
            <a:lvl6pPr marL="672704" indent="-134541">
              <a:tabLst/>
              <a:defRPr/>
            </a:lvl6pPr>
            <a:lvl7pPr marL="809625" indent="-135731">
              <a:tabLst/>
              <a:defRPr/>
            </a:lvl7pPr>
            <a:lvl8pPr marL="941785" indent="-132160">
              <a:buFont typeface="Symbol" pitchFamily="18" charset="2"/>
              <a:buChar char="-"/>
              <a:defRPr/>
            </a:lvl8pPr>
            <a:lvl9pPr marL="1073944" indent="-130969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7680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9883" y="191126"/>
            <a:ext cx="6498236" cy="449704"/>
          </a:xfrm>
        </p:spPr>
        <p:txBody>
          <a:bodyPr anchor="t">
            <a:normAutofit/>
          </a:bodyPr>
          <a:lstStyle>
            <a:lvl1pPr algn="l">
              <a:defRPr sz="3000">
                <a:solidFill>
                  <a:srgbClr val="FE55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883" y="1175657"/>
            <a:ext cx="8335468" cy="3457065"/>
          </a:xfrm>
        </p:spPr>
        <p:txBody>
          <a:bodyPr/>
          <a:lstStyle>
            <a:lvl1pPr>
              <a:defRPr>
                <a:solidFill>
                  <a:srgbClr val="404041"/>
                </a:solidFill>
              </a:defRPr>
            </a:lvl1pPr>
            <a:lvl2pPr>
              <a:defRPr>
                <a:solidFill>
                  <a:srgbClr val="404041"/>
                </a:solidFill>
              </a:defRPr>
            </a:lvl2pPr>
            <a:lvl3pPr>
              <a:defRPr>
                <a:solidFill>
                  <a:srgbClr val="404041"/>
                </a:solidFill>
              </a:defRPr>
            </a:lvl3pPr>
            <a:lvl4pPr>
              <a:defRPr>
                <a:solidFill>
                  <a:srgbClr val="404041"/>
                </a:solidFill>
              </a:defRPr>
            </a:lvl4pPr>
            <a:lvl5pPr>
              <a:defRPr>
                <a:solidFill>
                  <a:srgbClr val="40404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66555" y="4870934"/>
            <a:ext cx="4010891" cy="273844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r>
              <a:rPr lang="en-US"/>
              <a:t>CONFIDENTIAL AND PROPRIETARY INFORMATION. © 2016 SOGETI USA LLC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4870934"/>
            <a:ext cx="364548" cy="273844"/>
          </a:xfrm>
          <a:prstGeom prst="rect">
            <a:avLst/>
          </a:prstGeom>
        </p:spPr>
        <p:txBody>
          <a:bodyPr anchor="ctr"/>
          <a:lstStyle>
            <a:lvl1pPr algn="ctr">
              <a:defRPr lang="en-US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9B52C92-7CC8-4344-907B-65DD82B951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79882" y="642107"/>
            <a:ext cx="4552950" cy="236934"/>
          </a:xfrm>
        </p:spPr>
        <p:txBody>
          <a:bodyPr>
            <a:noAutofit/>
          </a:bodyPr>
          <a:lstStyle>
            <a:lvl1pPr marL="0" indent="0">
              <a:buNone/>
              <a:defRPr sz="150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a little 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6858" y="217757"/>
            <a:ext cx="1731575" cy="396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5252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4548" y="3526141"/>
            <a:ext cx="6739912" cy="442886"/>
          </a:xfrm>
        </p:spPr>
        <p:txBody>
          <a:bodyPr anchor="t">
            <a:noAutofit/>
          </a:bodyPr>
          <a:lstStyle>
            <a:lvl1pPr algn="l">
              <a:defRPr sz="3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948" y="3969026"/>
            <a:ext cx="6629277" cy="351126"/>
          </a:xfr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a little subtitle</a:t>
            </a:r>
          </a:p>
        </p:txBody>
      </p:sp>
    </p:spTree>
    <p:extLst>
      <p:ext uri="{BB962C8B-B14F-4D97-AF65-F5344CB8AC3E}">
        <p14:creationId xmlns:p14="http://schemas.microsoft.com/office/powerpoint/2010/main" val="569786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B65E5D28-DD98-4E91-9A47-5EF3E6FFCD68}" type="datetimeFigureOut">
              <a:rPr lang="en-US" smtClean="0"/>
              <a:pPr/>
              <a:t>10/1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6052222-04F8-4497-B1FA-DFBDD354FF4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NUL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4000" y="34926"/>
            <a:ext cx="8432800" cy="4699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933950"/>
            <a:ext cx="9144000" cy="2095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Date Placeholder 3"/>
          <p:cNvSpPr txBox="1">
            <a:spLocks/>
          </p:cNvSpPr>
          <p:nvPr userDrawn="1"/>
        </p:nvSpPr>
        <p:spPr>
          <a:xfrm>
            <a:off x="76200" y="4933950"/>
            <a:ext cx="2133600" cy="2095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Source Sans Pro Light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15DB39-BEA8-4810-B2CD-86D93ED56ED5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 Light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 Light" pitchFamily="34" charset="0"/>
              <a:ea typeface="+mn-ea"/>
              <a:cs typeface="+mn-cs"/>
            </a:endParaRPr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6858000" y="4933950"/>
            <a:ext cx="2133600" cy="2095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Source Sans Pro Light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 Light" pitchFamily="34" charset="0"/>
                <a:ea typeface="+mn-ea"/>
                <a:cs typeface="+mn-cs"/>
              </a:rPr>
              <a:t>us.sogeti.com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717" r:id="rId12"/>
    <p:sldLayoutId id="2147483723" r:id="rId13"/>
    <p:sldLayoutId id="2147483724" r:id="rId14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Calibri Light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4000" y="34926"/>
            <a:ext cx="8432800" cy="4699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933950"/>
            <a:ext cx="9144000" cy="2095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Date Placeholder 3"/>
          <p:cNvSpPr txBox="1">
            <a:spLocks/>
          </p:cNvSpPr>
          <p:nvPr userDrawn="1"/>
        </p:nvSpPr>
        <p:spPr>
          <a:xfrm>
            <a:off x="76200" y="4933950"/>
            <a:ext cx="2133600" cy="2095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Source Sans Pro Light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15DB39-BEA8-4810-B2CD-86D93ED56ED5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 Light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 Light" pitchFamily="34" charset="0"/>
              <a:ea typeface="+mn-ea"/>
              <a:cs typeface="+mn-cs"/>
            </a:endParaRPr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6858000" y="4933950"/>
            <a:ext cx="2133600" cy="2095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Source Sans Pro Light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 Light" pitchFamily="34" charset="0"/>
                <a:ea typeface="+mn-ea"/>
                <a:cs typeface="+mn-cs"/>
              </a:rPr>
              <a:t>us.sogeti.com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7629178" y="4542620"/>
            <a:ext cx="1331029" cy="305605"/>
            <a:chOff x="1938326" y="3200400"/>
            <a:chExt cx="5153986" cy="1183358"/>
          </a:xfrm>
        </p:grpSpPr>
        <p:sp>
          <p:nvSpPr>
            <p:cNvPr id="12" name="Rectangle 11"/>
            <p:cNvSpPr/>
            <p:nvPr/>
          </p:nvSpPr>
          <p:spPr>
            <a:xfrm>
              <a:off x="1946787" y="3200400"/>
              <a:ext cx="5136593" cy="1165538"/>
            </a:xfrm>
            <a:prstGeom prst="rect">
              <a:avLst/>
            </a:prstGeom>
            <a:solidFill>
              <a:srgbClr val="FF40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3" name="Picture 12" descr="Sogeti Logo 2013-White Knockout.png"/>
            <p:cNvPicPr>
              <a:picLocks noChangeAspect="1"/>
            </p:cNvPicPr>
            <p:nvPr/>
          </p:nvPicPr>
          <p:blipFill>
            <a:blip r:embed="rId13" cstate="email"/>
            <a:stretch>
              <a:fillRect/>
            </a:stretch>
          </p:blipFill>
          <p:spPr>
            <a:xfrm>
              <a:off x="1938326" y="3202072"/>
              <a:ext cx="5153986" cy="1181686"/>
            </a:xfrm>
            <a:prstGeom prst="rect">
              <a:avLst/>
            </a:prstGeom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Calibri Light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Calibri Light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926" y="0"/>
            <a:ext cx="8444074" cy="4929510"/>
          </a:xfrm>
          <a:prstGeom prst="rect">
            <a:avLst/>
          </a:prstGeom>
        </p:spPr>
      </p:pic>
      <p:sp>
        <p:nvSpPr>
          <p:cNvPr id="7" name="Right Triangle 6"/>
          <p:cNvSpPr/>
          <p:nvPr/>
        </p:nvSpPr>
        <p:spPr>
          <a:xfrm rot="5400000">
            <a:off x="-512112" y="512113"/>
            <a:ext cx="5219699" cy="4195475"/>
          </a:xfrm>
          <a:prstGeom prst="rtTriangle">
            <a:avLst/>
          </a:prstGeom>
          <a:solidFill>
            <a:srgbClr val="FF4019">
              <a:alpha val="9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51920">
            <a:off x="-880927" y="-672296"/>
            <a:ext cx="3974523" cy="5143500"/>
          </a:xfrm>
          <a:prstGeom prst="rect">
            <a:avLst/>
          </a:prstGeom>
        </p:spPr>
      </p:pic>
      <p:sp>
        <p:nvSpPr>
          <p:cNvPr id="8" name="Right Triangle 7"/>
          <p:cNvSpPr/>
          <p:nvPr/>
        </p:nvSpPr>
        <p:spPr>
          <a:xfrm>
            <a:off x="0" y="3375395"/>
            <a:ext cx="5219699" cy="1844305"/>
          </a:xfrm>
          <a:prstGeom prst="rtTriangle">
            <a:avLst/>
          </a:prstGeom>
          <a:solidFill>
            <a:srgbClr val="FFC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29D36FF2-8275-4960-BAC1-479F056B53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06334" y="3457101"/>
            <a:ext cx="7661852" cy="1200251"/>
          </a:xfrm>
          <a:effectLst>
            <a:outerShdw blurRad="88900" dist="25400" dir="10800000" algn="r" rotWithShape="0">
              <a:prstClr val="black">
                <a:alpha val="43000"/>
              </a:prstClr>
            </a:outerShdw>
          </a:effectLst>
        </p:spPr>
        <p:txBody>
          <a:bodyPr/>
          <a:lstStyle/>
          <a:p>
            <a:pPr algn="ctr"/>
            <a:r>
              <a:rPr lang="en-US" sz="3600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89000"/>
                    </a:srgbClr>
                  </a:outerShdw>
                </a:effectLst>
              </a:rPr>
              <a:t>Schwan’s – Use Case – Manufacturing Analytics – Predict Plant Outage</a:t>
            </a:r>
          </a:p>
        </p:txBody>
      </p:sp>
    </p:spTree>
    <p:extLst>
      <p:ext uri="{BB962C8B-B14F-4D97-AF65-F5344CB8AC3E}">
        <p14:creationId xmlns:p14="http://schemas.microsoft.com/office/powerpoint/2010/main" val="10254835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262" y="735981"/>
            <a:ext cx="8850141" cy="403449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>
                <a:solidFill>
                  <a:schemeClr val="tx2"/>
                </a:solidFill>
              </a:rPr>
              <a:t>Goal : </a:t>
            </a:r>
          </a:p>
          <a:p>
            <a:pPr marL="0" indent="0">
              <a:buNone/>
            </a:pPr>
            <a:r>
              <a:rPr lang="en-US" sz="1400" dirty="0"/>
              <a:t>Predict Manufacturing Plants Outage.</a:t>
            </a:r>
          </a:p>
          <a:p>
            <a:pPr marL="0" indent="0">
              <a:buNone/>
            </a:pPr>
            <a:r>
              <a:rPr lang="en-US" sz="2400" b="1" dirty="0">
                <a:solidFill>
                  <a:schemeClr val="tx2"/>
                </a:solidFill>
              </a:rPr>
              <a:t>Use Case :</a:t>
            </a:r>
          </a:p>
          <a:p>
            <a:r>
              <a:rPr lang="en-US" sz="1400" dirty="0"/>
              <a:t>During a workshop at client site a use case came up on top of the list. How to reduce or even predict Manufacturing plants outage hours or days in advance.</a:t>
            </a:r>
            <a:endParaRPr lang="en-US" sz="2000" dirty="0"/>
          </a:p>
          <a:p>
            <a:pPr marL="0" indent="0">
              <a:buNone/>
            </a:pPr>
            <a:r>
              <a:rPr lang="en-US" sz="2400" b="1" dirty="0">
                <a:solidFill>
                  <a:schemeClr val="tx2"/>
                </a:solidFill>
              </a:rPr>
              <a:t>Approach :</a:t>
            </a:r>
          </a:p>
          <a:p>
            <a:r>
              <a:rPr lang="en-US" sz="1300" dirty="0" err="1"/>
              <a:t>Sogeti</a:t>
            </a:r>
            <a:r>
              <a:rPr lang="en-US" sz="1300" dirty="0"/>
              <a:t> Team rolled the sleeves and developed a demonstration of state of the art.</a:t>
            </a:r>
          </a:p>
          <a:p>
            <a:r>
              <a:rPr lang="en-US" sz="1400" dirty="0"/>
              <a:t>This model comprises of another Manufacturing units dataset , sources are telemetry , machine failure , error logs , maintenance and machines configuration(age).</a:t>
            </a:r>
          </a:p>
          <a:p>
            <a:r>
              <a:rPr lang="en-US" sz="1400" dirty="0" err="1"/>
              <a:t>Sogeti</a:t>
            </a:r>
            <a:r>
              <a:rPr lang="en-US" sz="1400" dirty="0"/>
              <a:t> Team built a predictive model using this dataset , leveraging statistical techniques to identify the influence of certain errors, machine unique ID and machine components which are predicted to fail.</a:t>
            </a:r>
            <a:endParaRPr lang="en-US" sz="2400" dirty="0"/>
          </a:p>
          <a:p>
            <a:pPr marL="0" indent="0">
              <a:buNone/>
            </a:pPr>
            <a:endParaRPr lang="en-US" sz="1600" dirty="0"/>
          </a:p>
          <a:p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57292" y="735980"/>
            <a:ext cx="87231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AA07686-1680-45FB-A527-51551140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44" y="136375"/>
            <a:ext cx="8664314" cy="599605"/>
          </a:xfrm>
        </p:spPr>
        <p:txBody>
          <a:bodyPr>
            <a:noAutofit/>
          </a:bodyPr>
          <a:lstStyle/>
          <a:p>
            <a:r>
              <a:rPr lang="en-US" b="1" dirty="0"/>
              <a:t>Predict Plants Outage :</a:t>
            </a:r>
          </a:p>
        </p:txBody>
      </p:sp>
    </p:spTree>
    <p:extLst>
      <p:ext uri="{BB962C8B-B14F-4D97-AF65-F5344CB8AC3E}">
        <p14:creationId xmlns:p14="http://schemas.microsoft.com/office/powerpoint/2010/main" val="3210016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263" y="735981"/>
            <a:ext cx="8702064" cy="4034494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1600" dirty="0"/>
          </a:p>
          <a:p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57292" y="735980"/>
            <a:ext cx="87231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AA07686-1680-45FB-A527-51551140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44" y="136375"/>
            <a:ext cx="8664314" cy="599605"/>
          </a:xfrm>
        </p:spPr>
        <p:txBody>
          <a:bodyPr>
            <a:noAutofit/>
          </a:bodyPr>
          <a:lstStyle/>
          <a:p>
            <a:r>
              <a:rPr lang="en-US" b="1" dirty="0"/>
              <a:t>Architecture Built :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9369119-067C-42C6-967D-20799FBC4AD4}"/>
              </a:ext>
            </a:extLst>
          </p:cNvPr>
          <p:cNvSpPr/>
          <p:nvPr/>
        </p:nvSpPr>
        <p:spPr>
          <a:xfrm>
            <a:off x="2221081" y="1278261"/>
            <a:ext cx="1213092" cy="270934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4032EA-CCAA-49B7-965C-89F4CD890245}"/>
              </a:ext>
            </a:extLst>
          </p:cNvPr>
          <p:cNvSpPr/>
          <p:nvPr/>
        </p:nvSpPr>
        <p:spPr>
          <a:xfrm>
            <a:off x="5677990" y="3293994"/>
            <a:ext cx="1004612" cy="95282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E63633-444C-41EE-AE63-DE7A2178BC6A}"/>
              </a:ext>
            </a:extLst>
          </p:cNvPr>
          <p:cNvSpPr/>
          <p:nvPr/>
        </p:nvSpPr>
        <p:spPr>
          <a:xfrm>
            <a:off x="4033550" y="1278261"/>
            <a:ext cx="935665" cy="298420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090E3E8-196E-4819-A8AC-01F426B6BF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3803" y="2239837"/>
            <a:ext cx="780284" cy="780284"/>
          </a:xfrm>
          <a:prstGeom prst="rect">
            <a:avLst/>
          </a:prstGeom>
        </p:spPr>
      </p:pic>
      <p:sp>
        <p:nvSpPr>
          <p:cNvPr id="21" name="Speech Bubble: Rectangle with Corners Rounded 20">
            <a:extLst>
              <a:ext uri="{FF2B5EF4-FFF2-40B4-BE49-F238E27FC236}">
                <a16:creationId xmlns:a16="http://schemas.microsoft.com/office/drawing/2014/main" id="{EFED63D6-C126-48BB-9F1F-F3061E34EBED}"/>
              </a:ext>
            </a:extLst>
          </p:cNvPr>
          <p:cNvSpPr/>
          <p:nvPr/>
        </p:nvSpPr>
        <p:spPr>
          <a:xfrm>
            <a:off x="279568" y="1691954"/>
            <a:ext cx="1213494" cy="1124640"/>
          </a:xfrm>
          <a:prstGeom prst="wedgeRoundRectCallout">
            <a:avLst>
              <a:gd name="adj1" fmla="val 16071"/>
              <a:gd name="adj2" fmla="val 49042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OEM Automated Data Capture Software(s) e.g. ROCKWELL,REDZONE,TRIHEDRAL,WONDERWARE </a:t>
            </a:r>
            <a:r>
              <a:rPr lang="en-US" sz="1000" dirty="0" err="1">
                <a:solidFill>
                  <a:schemeClr val="tx1"/>
                </a:solidFill>
              </a:rPr>
              <a:t>e.t.c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ED3994-A291-44D5-8107-CBAB1876510E}"/>
              </a:ext>
            </a:extLst>
          </p:cNvPr>
          <p:cNvSpPr/>
          <p:nvPr/>
        </p:nvSpPr>
        <p:spPr>
          <a:xfrm>
            <a:off x="3500386" y="4308064"/>
            <a:ext cx="1823216" cy="361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u="sng" dirty="0">
                <a:solidFill>
                  <a:schemeClr val="tx1"/>
                </a:solidFill>
              </a:rPr>
              <a:t>Machine Learning Mode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8CBE07-26B1-4298-95AE-64235E29024F}"/>
              </a:ext>
            </a:extLst>
          </p:cNvPr>
          <p:cNvSpPr/>
          <p:nvPr/>
        </p:nvSpPr>
        <p:spPr>
          <a:xfrm>
            <a:off x="5554768" y="4379142"/>
            <a:ext cx="1823216" cy="361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u="sng" dirty="0">
                <a:solidFill>
                  <a:schemeClr val="tx1"/>
                </a:solidFill>
              </a:rPr>
              <a:t>Predictive Model hosting on Azure Clou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1171C9B-8759-492C-ADCB-AD96ABDD28A8}"/>
              </a:ext>
            </a:extLst>
          </p:cNvPr>
          <p:cNvSpPr/>
          <p:nvPr/>
        </p:nvSpPr>
        <p:spPr>
          <a:xfrm>
            <a:off x="2118026" y="4408968"/>
            <a:ext cx="1405051" cy="361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u="sng" dirty="0">
                <a:solidFill>
                  <a:schemeClr val="tx1"/>
                </a:solidFill>
              </a:rPr>
              <a:t>Nature of Data</a:t>
            </a:r>
          </a:p>
          <a:p>
            <a:pPr algn="ctr"/>
            <a:endParaRPr lang="en-US" sz="1200" b="1" u="sng" dirty="0">
              <a:solidFill>
                <a:schemeClr val="tx1"/>
              </a:solidFill>
            </a:endParaRPr>
          </a:p>
        </p:txBody>
      </p:sp>
      <p:sp>
        <p:nvSpPr>
          <p:cNvPr id="31" name="Speech Bubble: Rectangle with Corners Rounded 30">
            <a:extLst>
              <a:ext uri="{FF2B5EF4-FFF2-40B4-BE49-F238E27FC236}">
                <a16:creationId xmlns:a16="http://schemas.microsoft.com/office/drawing/2014/main" id="{09601A5C-DDAA-4357-B717-76B064922B33}"/>
              </a:ext>
            </a:extLst>
          </p:cNvPr>
          <p:cNvSpPr/>
          <p:nvPr/>
        </p:nvSpPr>
        <p:spPr>
          <a:xfrm>
            <a:off x="279568" y="3150034"/>
            <a:ext cx="1213494" cy="477901"/>
          </a:xfrm>
          <a:prstGeom prst="wedgeRoundRectCallout">
            <a:avLst>
              <a:gd name="adj1" fmla="val 16071"/>
              <a:gd name="adj2" fmla="val 49042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eceives health score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E358AFB3-FAA8-4D86-B020-C1BB2B413FD3}"/>
              </a:ext>
            </a:extLst>
          </p:cNvPr>
          <p:cNvSpPr/>
          <p:nvPr/>
        </p:nvSpPr>
        <p:spPr>
          <a:xfrm rot="1288345">
            <a:off x="1542400" y="2382316"/>
            <a:ext cx="443678" cy="283792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Arrow: Left 32">
            <a:extLst>
              <a:ext uri="{FF2B5EF4-FFF2-40B4-BE49-F238E27FC236}">
                <a16:creationId xmlns:a16="http://schemas.microsoft.com/office/drawing/2014/main" id="{3236FFF7-50FA-4F85-BB8E-ECB45EA81D45}"/>
              </a:ext>
            </a:extLst>
          </p:cNvPr>
          <p:cNvSpPr/>
          <p:nvPr/>
        </p:nvSpPr>
        <p:spPr>
          <a:xfrm rot="9568829">
            <a:off x="1522340" y="2998257"/>
            <a:ext cx="443678" cy="280160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D227279-F27F-4F90-B273-BD92806E5645}"/>
              </a:ext>
            </a:extLst>
          </p:cNvPr>
          <p:cNvSpPr/>
          <p:nvPr/>
        </p:nvSpPr>
        <p:spPr>
          <a:xfrm>
            <a:off x="130263" y="935666"/>
            <a:ext cx="8773894" cy="3884428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Screen Clippi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268" y="3123602"/>
            <a:ext cx="1244589" cy="523836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08286" y="1884735"/>
            <a:ext cx="1213088" cy="46166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Maintenance</a:t>
            </a:r>
          </a:p>
          <a:p>
            <a:pPr algn="ctr"/>
            <a:endParaRPr lang="en-US" sz="12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2215358" y="1367776"/>
            <a:ext cx="1218815" cy="46166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Telemetry</a:t>
            </a:r>
          </a:p>
          <a:p>
            <a:pPr algn="ctr"/>
            <a:endParaRPr lang="en-US" sz="12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2226803" y="2391719"/>
            <a:ext cx="1187499" cy="46166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Machine Failure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233876" y="2904519"/>
            <a:ext cx="1187499" cy="46166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Error Logs </a:t>
            </a:r>
          </a:p>
          <a:p>
            <a:pPr algn="ctr"/>
            <a:endParaRPr lang="en-US" sz="12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2233875" y="3417319"/>
            <a:ext cx="1187499" cy="46166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Machine Configuration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1171C9B-8759-492C-ADCB-AD96ABDD28A8}"/>
              </a:ext>
            </a:extLst>
          </p:cNvPr>
          <p:cNvSpPr/>
          <p:nvPr/>
        </p:nvSpPr>
        <p:spPr>
          <a:xfrm>
            <a:off x="422409" y="4323685"/>
            <a:ext cx="1114015" cy="361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u="sng" dirty="0">
              <a:solidFill>
                <a:schemeClr val="tx1"/>
              </a:solidFill>
            </a:endParaRPr>
          </a:p>
          <a:p>
            <a:pPr algn="ctr"/>
            <a:r>
              <a:rPr lang="en-US" sz="1200" b="1" u="sng" dirty="0">
                <a:solidFill>
                  <a:schemeClr val="tx1"/>
                </a:solidFill>
              </a:rPr>
              <a:t>Data Source </a:t>
            </a:r>
          </a:p>
          <a:p>
            <a:pPr algn="ctr"/>
            <a:endParaRPr lang="en-US" sz="1200" b="1" u="sng" dirty="0">
              <a:solidFill>
                <a:schemeClr val="tx1"/>
              </a:solidFill>
            </a:endParaRPr>
          </a:p>
        </p:txBody>
      </p:sp>
      <p:sp>
        <p:nvSpPr>
          <p:cNvPr id="44" name="Arrow: Left-Right 18">
            <a:extLst>
              <a:ext uri="{FF2B5EF4-FFF2-40B4-BE49-F238E27FC236}">
                <a16:creationId xmlns:a16="http://schemas.microsoft.com/office/drawing/2014/main" id="{2AA4B2FE-E916-41AB-B654-98C15A50E7E1}"/>
              </a:ext>
            </a:extLst>
          </p:cNvPr>
          <p:cNvSpPr/>
          <p:nvPr/>
        </p:nvSpPr>
        <p:spPr>
          <a:xfrm>
            <a:off x="4969216" y="3493778"/>
            <a:ext cx="708773" cy="325636"/>
          </a:xfrm>
          <a:prstGeom prst="left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Arrow: Left 32">
            <a:extLst>
              <a:ext uri="{FF2B5EF4-FFF2-40B4-BE49-F238E27FC236}">
                <a16:creationId xmlns:a16="http://schemas.microsoft.com/office/drawing/2014/main" id="{3236FFF7-50FA-4F85-BB8E-ECB45EA81D45}"/>
              </a:ext>
            </a:extLst>
          </p:cNvPr>
          <p:cNvSpPr/>
          <p:nvPr/>
        </p:nvSpPr>
        <p:spPr>
          <a:xfrm rot="10800000">
            <a:off x="4991743" y="2233793"/>
            <a:ext cx="686246" cy="308923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2158" y="3336753"/>
            <a:ext cx="976275" cy="881560"/>
          </a:xfrm>
          <a:prstGeom prst="rect">
            <a:avLst/>
          </a:prstGeom>
        </p:spPr>
      </p:pic>
      <p:sp>
        <p:nvSpPr>
          <p:cNvPr id="46" name="Arrow: Left 32">
            <a:extLst>
              <a:ext uri="{FF2B5EF4-FFF2-40B4-BE49-F238E27FC236}">
                <a16:creationId xmlns:a16="http://schemas.microsoft.com/office/drawing/2014/main" id="{3236FFF7-50FA-4F85-BB8E-ECB45EA81D45}"/>
              </a:ext>
            </a:extLst>
          </p:cNvPr>
          <p:cNvSpPr/>
          <p:nvPr/>
        </p:nvSpPr>
        <p:spPr>
          <a:xfrm rot="10800000">
            <a:off x="3434174" y="2605695"/>
            <a:ext cx="586579" cy="298823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EE63633-444C-41EE-AE63-DE7A2178BC6A}"/>
              </a:ext>
            </a:extLst>
          </p:cNvPr>
          <p:cNvSpPr/>
          <p:nvPr/>
        </p:nvSpPr>
        <p:spPr>
          <a:xfrm>
            <a:off x="5677990" y="1278262"/>
            <a:ext cx="2389186" cy="164037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5677989" y="1639446"/>
            <a:ext cx="23891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Predictions on –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000" dirty="0"/>
              <a:t>Relative Influence on Machine outage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000" dirty="0"/>
              <a:t>Component(s) causing failure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000" dirty="0"/>
              <a:t>Voltage , model and age leading failure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000" dirty="0"/>
              <a:t>Certain errors in given plant and/or machine </a:t>
            </a:r>
          </a:p>
        </p:txBody>
      </p:sp>
    </p:spTree>
    <p:extLst>
      <p:ext uri="{BB962C8B-B14F-4D97-AF65-F5344CB8AC3E}">
        <p14:creationId xmlns:p14="http://schemas.microsoft.com/office/powerpoint/2010/main" val="39963264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263" y="735981"/>
            <a:ext cx="8702064" cy="4034494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1600" dirty="0"/>
          </a:p>
          <a:p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57292" y="735980"/>
            <a:ext cx="87231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AA07686-1680-45FB-A527-51551140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44" y="136375"/>
            <a:ext cx="8664314" cy="599605"/>
          </a:xfrm>
        </p:spPr>
        <p:txBody>
          <a:bodyPr>
            <a:noAutofit/>
          </a:bodyPr>
          <a:lstStyle/>
          <a:p>
            <a:r>
              <a:rPr lang="en-US" b="1" dirty="0"/>
              <a:t>Dataset View: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9369119-067C-42C6-967D-20799FBC4AD4}"/>
              </a:ext>
            </a:extLst>
          </p:cNvPr>
          <p:cNvSpPr/>
          <p:nvPr/>
        </p:nvSpPr>
        <p:spPr>
          <a:xfrm>
            <a:off x="666401" y="1369392"/>
            <a:ext cx="1187498" cy="279136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8CBE07-26B1-4298-95AE-64235E29024F}"/>
              </a:ext>
            </a:extLst>
          </p:cNvPr>
          <p:cNvSpPr/>
          <p:nvPr/>
        </p:nvSpPr>
        <p:spPr>
          <a:xfrm>
            <a:off x="5128891" y="2800695"/>
            <a:ext cx="3279463" cy="1344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u="sng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1171C9B-8759-492C-ADCB-AD96ABDD28A8}"/>
              </a:ext>
            </a:extLst>
          </p:cNvPr>
          <p:cNvSpPr/>
          <p:nvPr/>
        </p:nvSpPr>
        <p:spPr>
          <a:xfrm>
            <a:off x="568058" y="4360446"/>
            <a:ext cx="1405051" cy="361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u="sng" dirty="0">
                <a:solidFill>
                  <a:schemeClr val="tx1"/>
                </a:solidFill>
              </a:rPr>
              <a:t>Data Source</a:t>
            </a:r>
          </a:p>
          <a:p>
            <a:pPr algn="ctr"/>
            <a:endParaRPr lang="en-US" sz="1200" b="1" u="sng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D227279-F27F-4F90-B273-BD92806E5645}"/>
              </a:ext>
            </a:extLst>
          </p:cNvPr>
          <p:cNvSpPr/>
          <p:nvPr/>
        </p:nvSpPr>
        <p:spPr>
          <a:xfrm>
            <a:off x="130263" y="935666"/>
            <a:ext cx="8773894" cy="3884428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52231" y="1885984"/>
            <a:ext cx="1187499" cy="646331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Maintenance</a:t>
            </a:r>
          </a:p>
          <a:p>
            <a:pPr algn="ctr"/>
            <a:endParaRPr lang="en-US" sz="1200" b="1" dirty="0"/>
          </a:p>
          <a:p>
            <a:pPr algn="ctr"/>
            <a:endParaRPr lang="en-US" sz="12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676835" y="1369393"/>
            <a:ext cx="1187499" cy="46166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Telemetry</a:t>
            </a:r>
          </a:p>
          <a:p>
            <a:pPr algn="ctr"/>
            <a:endParaRPr lang="en-US" sz="12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666400" y="2455976"/>
            <a:ext cx="1187499" cy="646331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Machine Failures</a:t>
            </a:r>
          </a:p>
          <a:p>
            <a:pPr algn="ctr"/>
            <a:endParaRPr lang="en-US" sz="1200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652231" y="3028201"/>
            <a:ext cx="1187499" cy="646331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Error Logs</a:t>
            </a:r>
          </a:p>
          <a:p>
            <a:pPr algn="ctr"/>
            <a:r>
              <a:rPr lang="en-US" sz="1200" b="1" dirty="0"/>
              <a:t> </a:t>
            </a:r>
          </a:p>
          <a:p>
            <a:pPr algn="ctr"/>
            <a:endParaRPr lang="en-US" sz="12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652231" y="3628930"/>
            <a:ext cx="1187499" cy="46166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Machine Configuration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6942935"/>
              </p:ext>
            </p:extLst>
          </p:nvPr>
        </p:nvGraphicFramePr>
        <p:xfrm>
          <a:off x="1934117" y="1359267"/>
          <a:ext cx="5812589" cy="521970"/>
        </p:xfrm>
        <a:graphic>
          <a:graphicData uri="http://schemas.openxmlformats.org/drawingml/2006/table">
            <a:tbl>
              <a:tblPr/>
              <a:tblGrid>
                <a:gridCol w="12497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46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45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454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54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54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341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tim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chineI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tat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sur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brat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41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1/2015 6:0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.21785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.504078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.077935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0876857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87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1/2015 7:0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.879222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.747489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4605253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4139726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2853918"/>
              </p:ext>
            </p:extLst>
          </p:nvPr>
        </p:nvGraphicFramePr>
        <p:xfrm>
          <a:off x="1934116" y="1891768"/>
          <a:ext cx="2981642" cy="555799"/>
        </p:xfrm>
        <a:graphic>
          <a:graphicData uri="http://schemas.openxmlformats.org/drawingml/2006/table">
            <a:tbl>
              <a:tblPr/>
              <a:tblGrid>
                <a:gridCol w="12559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6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87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316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tim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chineI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316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1/2014 6:0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947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16/2014 6:0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6148655"/>
              </p:ext>
            </p:extLst>
          </p:nvPr>
        </p:nvGraphicFramePr>
        <p:xfrm>
          <a:off x="1934116" y="2460101"/>
          <a:ext cx="2981643" cy="558800"/>
        </p:xfrm>
        <a:graphic>
          <a:graphicData uri="http://schemas.openxmlformats.org/drawingml/2006/table">
            <a:tbl>
              <a:tblPr/>
              <a:tblGrid>
                <a:gridCol w="12559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00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56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tim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chineI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lur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5/2015 6:0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6/2015 6:0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2071601"/>
              </p:ext>
            </p:extLst>
          </p:nvPr>
        </p:nvGraphicFramePr>
        <p:xfrm>
          <a:off x="1934116" y="3026431"/>
          <a:ext cx="2981642" cy="552450"/>
        </p:xfrm>
        <a:graphic>
          <a:graphicData uri="http://schemas.openxmlformats.org/drawingml/2006/table">
            <a:tbl>
              <a:tblPr/>
              <a:tblGrid>
                <a:gridCol w="12697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62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56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tim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chineI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rorI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3/2015 7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ror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3/2015 20: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ror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1367890"/>
              </p:ext>
            </p:extLst>
          </p:nvPr>
        </p:nvGraphicFramePr>
        <p:xfrm>
          <a:off x="1934116" y="3586411"/>
          <a:ext cx="2981642" cy="558800"/>
        </p:xfrm>
        <a:graphic>
          <a:graphicData uri="http://schemas.openxmlformats.org/drawingml/2006/table">
            <a:tbl>
              <a:tblPr/>
              <a:tblGrid>
                <a:gridCol w="12765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93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56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chineID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l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l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5128890" y="2889701"/>
            <a:ext cx="3403218" cy="646331"/>
          </a:xfrm>
          <a:prstGeom prst="rect">
            <a:avLst/>
          </a:prstGeom>
          <a:noFill/>
          <a:ln>
            <a:solidFill>
              <a:srgbClr val="302B20"/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Components are categorized comp1 to comp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Models are categorized as model1 to model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Machines are given unique ID 1 to 100</a:t>
            </a:r>
          </a:p>
        </p:txBody>
      </p:sp>
    </p:spTree>
    <p:extLst>
      <p:ext uri="{BB962C8B-B14F-4D97-AF65-F5344CB8AC3E}">
        <p14:creationId xmlns:p14="http://schemas.microsoft.com/office/powerpoint/2010/main" val="28043554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 INFORMATION. © 2016 SOGETI USA LLC</a:t>
            </a:r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57292" y="735980"/>
            <a:ext cx="87231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AA07686-1680-45FB-A527-51551140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43" y="136374"/>
            <a:ext cx="8664314" cy="599605"/>
          </a:xfrm>
        </p:spPr>
        <p:txBody>
          <a:bodyPr>
            <a:noAutofit/>
          </a:bodyPr>
          <a:lstStyle/>
          <a:p>
            <a:r>
              <a:rPr lang="en-US" b="1" dirty="0"/>
              <a:t>Explorations on Dataset: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ABAE355-0EBA-460A-A825-4D782952B1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1277" y="768935"/>
            <a:ext cx="2156723" cy="13716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8AD46FD-96C5-452E-8896-AEBDA55F8B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0088" y="768935"/>
            <a:ext cx="2156723" cy="13716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44EBE65-0331-4D96-A928-36D984FE04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8899" y="768935"/>
            <a:ext cx="2156723" cy="13716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B1D0AE5-90CB-4059-8ABE-BEB9055ADE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1277" y="2117655"/>
            <a:ext cx="2156723" cy="13716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5B1A2BC-9F3C-460B-AD51-F4CEAAD157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088" y="2117655"/>
            <a:ext cx="2156723" cy="13716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3738F9C-E8AD-44EC-9B81-C9E08F94DD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88899" y="2117655"/>
            <a:ext cx="2156723" cy="13716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4CAEA75-6190-4694-A44B-759A7A0D0E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91277" y="3545094"/>
            <a:ext cx="2156723" cy="13716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B6F6003-B3AF-4DC1-8582-DAE40AC2F1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40088" y="3541053"/>
            <a:ext cx="2156723" cy="13716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3E97C17-6E5A-4839-BD4E-E6035C5C092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02984" y="3541053"/>
            <a:ext cx="2156723" cy="1371600"/>
          </a:xfrm>
          <a:prstGeom prst="rect">
            <a:avLst/>
          </a:prstGeom>
        </p:spPr>
      </p:pic>
      <p:sp>
        <p:nvSpPr>
          <p:cNvPr id="23" name="Arrow: Left 32">
            <a:extLst>
              <a:ext uri="{FF2B5EF4-FFF2-40B4-BE49-F238E27FC236}">
                <a16:creationId xmlns:a16="http://schemas.microsoft.com/office/drawing/2014/main" id="{B0C16541-489D-4681-9E24-481C2CB08EDE}"/>
              </a:ext>
            </a:extLst>
          </p:cNvPr>
          <p:cNvSpPr/>
          <p:nvPr/>
        </p:nvSpPr>
        <p:spPr>
          <a:xfrm rot="10800000" flipV="1">
            <a:off x="44448" y="1207796"/>
            <a:ext cx="1714502" cy="493877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rror Distribution</a:t>
            </a:r>
            <a:endParaRPr lang="en-US" sz="1000" b="1" dirty="0"/>
          </a:p>
        </p:txBody>
      </p:sp>
      <p:sp>
        <p:nvSpPr>
          <p:cNvPr id="25" name="Arrow: Left 32">
            <a:extLst>
              <a:ext uri="{FF2B5EF4-FFF2-40B4-BE49-F238E27FC236}">
                <a16:creationId xmlns:a16="http://schemas.microsoft.com/office/drawing/2014/main" id="{98537B2A-744C-4644-8A6E-3E47422200FA}"/>
              </a:ext>
            </a:extLst>
          </p:cNvPr>
          <p:cNvSpPr/>
          <p:nvPr/>
        </p:nvSpPr>
        <p:spPr>
          <a:xfrm rot="10800000" flipV="1">
            <a:off x="44448" y="2376445"/>
            <a:ext cx="1714501" cy="493877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aintenance Distribution</a:t>
            </a:r>
            <a:endParaRPr lang="en-US" sz="1000" b="1" dirty="0"/>
          </a:p>
        </p:txBody>
      </p:sp>
      <p:sp>
        <p:nvSpPr>
          <p:cNvPr id="26" name="Arrow: Left 32">
            <a:extLst>
              <a:ext uri="{FF2B5EF4-FFF2-40B4-BE49-F238E27FC236}">
                <a16:creationId xmlns:a16="http://schemas.microsoft.com/office/drawing/2014/main" id="{ED195C10-62EC-4A0E-B49F-EC4EE5B4AC8C}"/>
              </a:ext>
            </a:extLst>
          </p:cNvPr>
          <p:cNvSpPr/>
          <p:nvPr/>
        </p:nvSpPr>
        <p:spPr>
          <a:xfrm rot="10800000" flipV="1">
            <a:off x="44448" y="3808464"/>
            <a:ext cx="1714501" cy="493877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Failure Distribution</a:t>
            </a:r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18282701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7335" y="836114"/>
            <a:ext cx="5050781" cy="2848987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AND PROPRIETARY INFORMATION. © 2016 SOGETI USA LLC</a:t>
            </a:r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57292" y="735980"/>
            <a:ext cx="87231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6AA07686-1680-45FB-A527-51551140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43" y="136374"/>
            <a:ext cx="8664314" cy="599605"/>
          </a:xfrm>
        </p:spPr>
        <p:txBody>
          <a:bodyPr>
            <a:noAutofit/>
          </a:bodyPr>
          <a:lstStyle/>
          <a:p>
            <a:r>
              <a:rPr lang="en-US" b="1" dirty="0"/>
              <a:t>Insights to Predictions :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50014" y="3785234"/>
            <a:ext cx="4578875" cy="830997"/>
          </a:xfrm>
          <a:prstGeom prst="rect">
            <a:avLst/>
          </a:prstGeom>
          <a:noFill/>
          <a:ln>
            <a:solidFill>
              <a:srgbClr val="302B20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u="sng" dirty="0"/>
              <a:t>Summary</a:t>
            </a:r>
            <a:r>
              <a:rPr lang="en-US" sz="1200" dirty="0"/>
              <a:t> – Variable </a:t>
            </a:r>
            <a:r>
              <a:rPr lang="en-US" sz="1200" b="1" dirty="0"/>
              <a:t>error2count</a:t>
            </a:r>
            <a:r>
              <a:rPr lang="en-US" sz="1200" dirty="0"/>
              <a:t> is predicted to influence most to cause a certain machine to fail. On the other hand </a:t>
            </a:r>
            <a:r>
              <a:rPr lang="en-US" sz="1200" b="1" dirty="0"/>
              <a:t>vibrationsd_24hrs</a:t>
            </a:r>
            <a:r>
              <a:rPr lang="en-US" sz="1200" dirty="0"/>
              <a:t> and  </a:t>
            </a:r>
            <a:r>
              <a:rPr lang="en-US" sz="1200" b="1" dirty="0" err="1"/>
              <a:t>pressuremean</a:t>
            </a:r>
            <a:r>
              <a:rPr lang="en-US" sz="1200" dirty="0"/>
              <a:t> are predicted not to cause any failure in next 24 hours (as per the dataset used).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689215"/>
              </p:ext>
            </p:extLst>
          </p:nvPr>
        </p:nvGraphicFramePr>
        <p:xfrm>
          <a:off x="5358116" y="1044775"/>
          <a:ext cx="3068304" cy="3517360"/>
        </p:xfrm>
        <a:graphic>
          <a:graphicData uri="http://schemas.openxmlformats.org/drawingml/2006/table">
            <a:tbl>
              <a:tblPr/>
              <a:tblGrid>
                <a:gridCol w="10227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27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27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21217">
                <a:tc>
                  <a:txBody>
                    <a:bodyPr/>
                    <a:lstStyle/>
                    <a:p>
                      <a:pPr algn="l" fontAlgn="ctr"/>
                      <a:endParaRPr lang="en-US" sz="700" b="1" dirty="0">
                        <a:effectLst/>
                      </a:endParaRP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dirty="0">
                          <a:effectLst/>
                        </a:rPr>
                        <a:t>variable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dirty="0">
                          <a:effectLst/>
                        </a:rPr>
                        <a:t>Relative</a:t>
                      </a:r>
                      <a:r>
                        <a:rPr lang="en-US" sz="700" b="1" baseline="0" dirty="0">
                          <a:effectLst/>
                        </a:rPr>
                        <a:t> Influence</a:t>
                      </a:r>
                      <a:endParaRPr lang="en-US" sz="700" b="1" dirty="0">
                        <a:effectLst/>
                      </a:endParaRP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error2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error2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17.55478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error5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error5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14.92207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voltmean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voltmean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14.2271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vibrationmean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vibrationmean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12.93978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error3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error3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11.06276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pressuremean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pressuremean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9.595632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rotatemean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rotatemean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7.292141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error1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error1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6.60328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error4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error4count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3.716549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sincelastcomp1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sincelastcomp1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1.364124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model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model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3032902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sincelastcomp3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sincelastcomp3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2124723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vibrationmean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vibrationmean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05653781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rotatemean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rotatemean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03527521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pressuresd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pressuresd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02871147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sincelastcomp4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sincelastcomp4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02720787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age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age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02229394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voltmean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voltmean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01600519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pressuresd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pressuresd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0131631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vibrationsd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vibrationsd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.006823297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pressuremean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pressuremean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dirty="0" err="1">
                          <a:effectLst/>
                        </a:rPr>
                        <a:t>voltsd</a:t>
                      </a:r>
                      <a:endParaRPr lang="en-US" sz="700" b="1" dirty="0">
                        <a:effectLst/>
                      </a:endParaRP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voltsd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rotatesd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rotatesd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voltsd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voltsd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rotatesd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rotatesd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vibrationsd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vibrationsd_24hrs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0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212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>
                          <a:effectLst/>
                        </a:rPr>
                        <a:t>sincelastcomp2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>
                          <a:effectLst/>
                        </a:rPr>
                        <a:t>sincelastcomp2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dirty="0">
                          <a:effectLst/>
                        </a:rPr>
                        <a:t>0</a:t>
                      </a:r>
                    </a:p>
                  </a:txBody>
                  <a:tcPr marL="9470" marR="9470" marT="9470" marB="94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32643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Sogeti">
      <a:dk1>
        <a:srgbClr val="262626"/>
      </a:dk1>
      <a:lt1>
        <a:sysClr val="window" lastClr="FFFFFF"/>
      </a:lt1>
      <a:dk2>
        <a:srgbClr val="FF4019"/>
      </a:dk2>
      <a:lt2>
        <a:srgbClr val="FFFFFF"/>
      </a:lt2>
      <a:accent1>
        <a:srgbClr val="FF4019"/>
      </a:accent1>
      <a:accent2>
        <a:srgbClr val="262626"/>
      </a:accent2>
      <a:accent3>
        <a:srgbClr val="595959"/>
      </a:accent3>
      <a:accent4>
        <a:srgbClr val="7F7F7F"/>
      </a:accent4>
      <a:accent5>
        <a:srgbClr val="C4BBAF"/>
      </a:accent5>
      <a:accent6>
        <a:srgbClr val="F2F2F2"/>
      </a:accent6>
      <a:hlink>
        <a:srgbClr val="FF4019"/>
      </a:hlink>
      <a:folHlink>
        <a:srgbClr val="FF401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Custom Design">
  <a:themeElements>
    <a:clrScheme name="Sogeti">
      <a:dk1>
        <a:srgbClr val="262626"/>
      </a:dk1>
      <a:lt1>
        <a:sysClr val="window" lastClr="FFFFFF"/>
      </a:lt1>
      <a:dk2>
        <a:srgbClr val="FF4019"/>
      </a:dk2>
      <a:lt2>
        <a:srgbClr val="FFFFFF"/>
      </a:lt2>
      <a:accent1>
        <a:srgbClr val="FF4019"/>
      </a:accent1>
      <a:accent2>
        <a:srgbClr val="262626"/>
      </a:accent2>
      <a:accent3>
        <a:srgbClr val="595959"/>
      </a:accent3>
      <a:accent4>
        <a:srgbClr val="7F7F7F"/>
      </a:accent4>
      <a:accent5>
        <a:srgbClr val="C4BBAF"/>
      </a:accent5>
      <a:accent6>
        <a:srgbClr val="F2F2F2"/>
      </a:accent6>
      <a:hlink>
        <a:srgbClr val="FF4019"/>
      </a:hlink>
      <a:folHlink>
        <a:srgbClr val="FF401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8F692454C0164999DCCAF4D3B80B9C" ma:contentTypeVersion="0" ma:contentTypeDescription="Create a new document." ma:contentTypeScope="" ma:versionID="4ff2981788c62f8e54db9cd80ffdb9de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0CD3603-618B-4ECD-B77D-1D043655243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ED79BD86-BA74-4055-9222-7F346FED871B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66BBFD8-B944-4927-B9E7-95627CF9F00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3739</TotalTime>
  <Words>508</Words>
  <Application>Microsoft Office PowerPoint</Application>
  <PresentationFormat>On-screen Show (16:9)</PresentationFormat>
  <Paragraphs>193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Calibri Light</vt:lpstr>
      <vt:lpstr>Source Sans Pro Light</vt:lpstr>
      <vt:lpstr>Symbol</vt:lpstr>
      <vt:lpstr>Wingdings</vt:lpstr>
      <vt:lpstr>1_Custom Design</vt:lpstr>
      <vt:lpstr>3_Custom Design</vt:lpstr>
      <vt:lpstr>think-cell Slide</vt:lpstr>
      <vt:lpstr>Schwan’s – Use Case – Manufacturing Analytics – Predict Plant Outage</vt:lpstr>
      <vt:lpstr>Predict Plants Outage :</vt:lpstr>
      <vt:lpstr>Architecture Built : </vt:lpstr>
      <vt:lpstr>Dataset View: </vt:lpstr>
      <vt:lpstr>Explorations on Dataset:</vt:lpstr>
      <vt:lpstr>Insights to Predictions 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night.Ecolab-CaseStudy</dc:title>
  <dc:creator>Gairola, Samarth</dc:creator>
  <cp:lastModifiedBy>Chevvuri, Deepti</cp:lastModifiedBy>
  <cp:revision>854</cp:revision>
  <cp:lastPrinted>2016-03-09T19:24:21Z</cp:lastPrinted>
  <dcterms:created xsi:type="dcterms:W3CDTF">2015-01-08T13:55:19Z</dcterms:created>
  <dcterms:modified xsi:type="dcterms:W3CDTF">2017-10-13T16:44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8F692454C0164999DCCAF4D3B80B9C</vt:lpwstr>
  </property>
</Properties>
</file>